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</p:sldMasterIdLst>
  <p:notesMasterIdLst>
    <p:notesMasterId r:id="rId20"/>
  </p:notesMasterIdLst>
  <p:handoutMasterIdLst>
    <p:handoutMasterId r:id="rId21"/>
  </p:handoutMasterIdLst>
  <p:sldIdLst>
    <p:sldId id="332" r:id="rId8"/>
    <p:sldId id="333" r:id="rId9"/>
    <p:sldId id="334" r:id="rId10"/>
    <p:sldId id="335" r:id="rId11"/>
    <p:sldId id="336" r:id="rId12"/>
    <p:sldId id="337" r:id="rId13"/>
    <p:sldId id="338" r:id="rId14"/>
    <p:sldId id="339" r:id="rId15"/>
    <p:sldId id="342" r:id="rId16"/>
    <p:sldId id="343" r:id="rId17"/>
    <p:sldId id="340" r:id="rId18"/>
    <p:sldId id="331" r:id="rId19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33"/>
            <p14:sldId id="334"/>
            <p14:sldId id="335"/>
            <p14:sldId id="336"/>
            <p14:sldId id="337"/>
            <p14:sldId id="338"/>
            <p14:sldId id="339"/>
            <p14:sldId id="342"/>
            <p14:sldId id="343"/>
            <p14:sldId id="340"/>
            <p14:sldId id="33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76B"/>
    <a:srgbClr val="00188F"/>
    <a:srgbClr val="E3008C"/>
    <a:srgbClr val="FFB900"/>
    <a:srgbClr val="107C10"/>
    <a:srgbClr val="FFFFFF"/>
    <a:srgbClr val="232832"/>
    <a:srgbClr val="525252"/>
    <a:srgbClr val="000000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421" autoAdjust="0"/>
    <p:restoredTop sz="96323" autoAdjust="0"/>
  </p:normalViewPr>
  <p:slideViewPr>
    <p:cSldViewPr>
      <p:cViewPr>
        <p:scale>
          <a:sx n="39" d="100"/>
          <a:sy n="39" d="100"/>
        </p:scale>
        <p:origin x="760" y="528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140E2A-782B-4024-832B-123006C0DFC2}" type="doc">
      <dgm:prSet loTypeId="urn:microsoft.com/office/officeart/2005/8/layout/gear1" loCatId="cycle" qsTypeId="urn:microsoft.com/office/officeart/2005/8/quickstyle/simple4" qsCatId="simple" csTypeId="urn:microsoft.com/office/officeart/2005/8/colors/colorful5" csCatId="colorful" phldr="1"/>
      <dgm:spPr/>
    </dgm:pt>
    <dgm:pt modelId="{23628CA0-D422-43FF-B003-EEA5730D26D4}">
      <dgm:prSet phldrT="[Text]"/>
      <dgm:spPr/>
      <dgm:t>
        <a:bodyPr/>
        <a:lstStyle/>
        <a:p>
          <a:r>
            <a:rPr lang="en-US" dirty="0" smtClean="0"/>
            <a:t>Raspberry Pi (Node.js)</a:t>
          </a:r>
          <a:endParaRPr lang="en-US" dirty="0"/>
        </a:p>
      </dgm:t>
    </dgm:pt>
    <dgm:pt modelId="{094768EC-538A-4449-A481-446C28F62EFE}" type="parTrans" cxnId="{2011B9FF-C5BD-4489-8C98-A44BEED0E3EE}">
      <dgm:prSet/>
      <dgm:spPr/>
      <dgm:t>
        <a:bodyPr/>
        <a:lstStyle/>
        <a:p>
          <a:endParaRPr lang="en-US"/>
        </a:p>
      </dgm:t>
    </dgm:pt>
    <dgm:pt modelId="{5D509157-2C65-4F92-AC1C-FAA97139449C}" type="sibTrans" cxnId="{2011B9FF-C5BD-4489-8C98-A44BEED0E3EE}">
      <dgm:prSet/>
      <dgm:spPr/>
      <dgm:t>
        <a:bodyPr/>
        <a:lstStyle/>
        <a:p>
          <a:endParaRPr lang="en-US"/>
        </a:p>
      </dgm:t>
    </dgm:pt>
    <dgm:pt modelId="{D81B82FB-8391-4BE4-A4C6-9A482E72D107}">
      <dgm:prSet phldrT="[Text]"/>
      <dgm:spPr/>
      <dgm:t>
        <a:bodyPr/>
        <a:lstStyle/>
        <a:p>
          <a:r>
            <a:rPr lang="en-US" dirty="0" smtClean="0"/>
            <a:t>Azure web app (Node.js)</a:t>
          </a:r>
          <a:endParaRPr lang="en-US" dirty="0"/>
        </a:p>
      </dgm:t>
    </dgm:pt>
    <dgm:pt modelId="{B4F73EFF-6538-4741-A4C2-B619260E9F24}" type="parTrans" cxnId="{F6ABD94F-2309-4141-AF53-53264842D59D}">
      <dgm:prSet/>
      <dgm:spPr/>
      <dgm:t>
        <a:bodyPr/>
        <a:lstStyle/>
        <a:p>
          <a:endParaRPr lang="en-US"/>
        </a:p>
      </dgm:t>
    </dgm:pt>
    <dgm:pt modelId="{35BF5CA2-08F9-45D8-AA82-BC2E375A4CA5}" type="sibTrans" cxnId="{F6ABD94F-2309-4141-AF53-53264842D59D}">
      <dgm:prSet/>
      <dgm:spPr/>
      <dgm:t>
        <a:bodyPr/>
        <a:lstStyle/>
        <a:p>
          <a:endParaRPr lang="en-US"/>
        </a:p>
      </dgm:t>
    </dgm:pt>
    <dgm:pt modelId="{E429A350-3178-4C81-BB78-EEC48A026CED}">
      <dgm:prSet phldrT="[Text]"/>
      <dgm:spPr/>
      <dgm:t>
        <a:bodyPr/>
        <a:lstStyle/>
        <a:p>
          <a:r>
            <a:rPr lang="en-US" dirty="0" smtClean="0"/>
            <a:t>Universal Windows App (JavaScript)</a:t>
          </a:r>
          <a:endParaRPr lang="en-US" dirty="0"/>
        </a:p>
      </dgm:t>
    </dgm:pt>
    <dgm:pt modelId="{45271662-0EAC-4691-AB13-7F835C717ACD}" type="parTrans" cxnId="{4B5EC3E8-0F4E-429F-AD1B-180AE5A586C7}">
      <dgm:prSet/>
      <dgm:spPr/>
      <dgm:t>
        <a:bodyPr/>
        <a:lstStyle/>
        <a:p>
          <a:endParaRPr lang="en-US"/>
        </a:p>
      </dgm:t>
    </dgm:pt>
    <dgm:pt modelId="{3901D4E4-52ED-4337-B695-9B327D79EF8E}" type="sibTrans" cxnId="{4B5EC3E8-0F4E-429F-AD1B-180AE5A586C7}">
      <dgm:prSet/>
      <dgm:spPr/>
      <dgm:t>
        <a:bodyPr/>
        <a:lstStyle/>
        <a:p>
          <a:endParaRPr lang="en-US"/>
        </a:p>
      </dgm:t>
    </dgm:pt>
    <dgm:pt modelId="{8D1CEF9E-79D2-4432-BA73-53A27DD1B0D3}" type="pres">
      <dgm:prSet presAssocID="{C7140E2A-782B-4024-832B-123006C0DFC2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9D265D8E-BDCE-47F1-A46C-391B0ACE6B9A}" type="pres">
      <dgm:prSet presAssocID="{23628CA0-D422-43FF-B003-EEA5730D26D4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D4C9D0-5D89-4262-9FE3-7D3B308C81F9}" type="pres">
      <dgm:prSet presAssocID="{23628CA0-D422-43FF-B003-EEA5730D26D4}" presName="gear1srcNode" presStyleLbl="node1" presStyleIdx="0" presStyleCnt="3"/>
      <dgm:spPr/>
    </dgm:pt>
    <dgm:pt modelId="{84F05ED1-950A-43EF-A974-573657FD0D0F}" type="pres">
      <dgm:prSet presAssocID="{23628CA0-D422-43FF-B003-EEA5730D26D4}" presName="gear1dstNode" presStyleLbl="node1" presStyleIdx="0" presStyleCnt="3"/>
      <dgm:spPr/>
    </dgm:pt>
    <dgm:pt modelId="{C603D963-94EC-4DE4-B17C-44592B8F0652}" type="pres">
      <dgm:prSet presAssocID="{D81B82FB-8391-4BE4-A4C6-9A482E72D107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987D6A-111A-45BE-BB0E-CD0CCB5516C7}" type="pres">
      <dgm:prSet presAssocID="{D81B82FB-8391-4BE4-A4C6-9A482E72D107}" presName="gear2srcNode" presStyleLbl="node1" presStyleIdx="1" presStyleCnt="3"/>
      <dgm:spPr/>
    </dgm:pt>
    <dgm:pt modelId="{C924B66A-E9AF-4448-AF9A-E30EB4A5EBDA}" type="pres">
      <dgm:prSet presAssocID="{D81B82FB-8391-4BE4-A4C6-9A482E72D107}" presName="gear2dstNode" presStyleLbl="node1" presStyleIdx="1" presStyleCnt="3"/>
      <dgm:spPr/>
    </dgm:pt>
    <dgm:pt modelId="{265D6196-3225-4BD2-A320-1ECCEA12FC70}" type="pres">
      <dgm:prSet presAssocID="{E429A350-3178-4C81-BB78-EEC48A026CED}" presName="gear3" presStyleLbl="node1" presStyleIdx="2" presStyleCnt="3"/>
      <dgm:spPr/>
    </dgm:pt>
    <dgm:pt modelId="{5B601DCD-32D2-4B50-B7B7-18DEAB9855BD}" type="pres">
      <dgm:prSet presAssocID="{E429A350-3178-4C81-BB78-EEC48A026CE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05C7193D-2D50-4209-A427-492A2C77F66A}" type="pres">
      <dgm:prSet presAssocID="{E429A350-3178-4C81-BB78-EEC48A026CED}" presName="gear3srcNode" presStyleLbl="node1" presStyleIdx="2" presStyleCnt="3"/>
      <dgm:spPr/>
    </dgm:pt>
    <dgm:pt modelId="{0761E811-765D-4201-8754-4F5B5C27EA5A}" type="pres">
      <dgm:prSet presAssocID="{E429A350-3178-4C81-BB78-EEC48A026CED}" presName="gear3dstNode" presStyleLbl="node1" presStyleIdx="2" presStyleCnt="3"/>
      <dgm:spPr/>
    </dgm:pt>
    <dgm:pt modelId="{777A46BE-0B5E-4393-9995-AA3B30DDA29F}" type="pres">
      <dgm:prSet presAssocID="{5D509157-2C65-4F92-AC1C-FAA97139449C}" presName="connector1" presStyleLbl="sibTrans2D1" presStyleIdx="0" presStyleCnt="3"/>
      <dgm:spPr/>
    </dgm:pt>
    <dgm:pt modelId="{274ECA6D-8EAD-4E6F-8921-703065B933CE}" type="pres">
      <dgm:prSet presAssocID="{35BF5CA2-08F9-45D8-AA82-BC2E375A4CA5}" presName="connector2" presStyleLbl="sibTrans2D1" presStyleIdx="1" presStyleCnt="3"/>
      <dgm:spPr/>
    </dgm:pt>
    <dgm:pt modelId="{083DB0E7-04B5-437B-A618-FC09CC7D8CD9}" type="pres">
      <dgm:prSet presAssocID="{3901D4E4-52ED-4337-B695-9B327D79EF8E}" presName="connector3" presStyleLbl="sibTrans2D1" presStyleIdx="2" presStyleCnt="3"/>
      <dgm:spPr/>
    </dgm:pt>
  </dgm:ptLst>
  <dgm:cxnLst>
    <dgm:cxn modelId="{03E66321-E42D-47FE-B9F4-743E035AFABA}" type="presOf" srcId="{C7140E2A-782B-4024-832B-123006C0DFC2}" destId="{8D1CEF9E-79D2-4432-BA73-53A27DD1B0D3}" srcOrd="0" destOrd="0" presId="urn:microsoft.com/office/officeart/2005/8/layout/gear1"/>
    <dgm:cxn modelId="{FE3064ED-FDBE-40F5-ADFD-446710183F9A}" type="presOf" srcId="{23628CA0-D422-43FF-B003-EEA5730D26D4}" destId="{84F05ED1-950A-43EF-A974-573657FD0D0F}" srcOrd="2" destOrd="0" presId="urn:microsoft.com/office/officeart/2005/8/layout/gear1"/>
    <dgm:cxn modelId="{4B5EC3E8-0F4E-429F-AD1B-180AE5A586C7}" srcId="{C7140E2A-782B-4024-832B-123006C0DFC2}" destId="{E429A350-3178-4C81-BB78-EEC48A026CED}" srcOrd="2" destOrd="0" parTransId="{45271662-0EAC-4691-AB13-7F835C717ACD}" sibTransId="{3901D4E4-52ED-4337-B695-9B327D79EF8E}"/>
    <dgm:cxn modelId="{CAA9E0BD-4D1A-4A13-891D-C1CB81F4038F}" type="presOf" srcId="{E429A350-3178-4C81-BB78-EEC48A026CED}" destId="{0761E811-765D-4201-8754-4F5B5C27EA5A}" srcOrd="3" destOrd="0" presId="urn:microsoft.com/office/officeart/2005/8/layout/gear1"/>
    <dgm:cxn modelId="{EE02D662-2DD7-4BFB-A498-31E7D3541DE2}" type="presOf" srcId="{E429A350-3178-4C81-BB78-EEC48A026CED}" destId="{265D6196-3225-4BD2-A320-1ECCEA12FC70}" srcOrd="0" destOrd="0" presId="urn:microsoft.com/office/officeart/2005/8/layout/gear1"/>
    <dgm:cxn modelId="{71A1A24E-F76D-4C2A-909F-E26AA72E8C1B}" type="presOf" srcId="{E429A350-3178-4C81-BB78-EEC48A026CED}" destId="{5B601DCD-32D2-4B50-B7B7-18DEAB9855BD}" srcOrd="1" destOrd="0" presId="urn:microsoft.com/office/officeart/2005/8/layout/gear1"/>
    <dgm:cxn modelId="{86D0383F-2F85-4093-898B-F96A35138306}" type="presOf" srcId="{D81B82FB-8391-4BE4-A4C6-9A482E72D107}" destId="{C603D963-94EC-4DE4-B17C-44592B8F0652}" srcOrd="0" destOrd="0" presId="urn:microsoft.com/office/officeart/2005/8/layout/gear1"/>
    <dgm:cxn modelId="{375EE76D-03A3-4864-A9D7-F2A6F4D910A3}" type="presOf" srcId="{D81B82FB-8391-4BE4-A4C6-9A482E72D107}" destId="{C924B66A-E9AF-4448-AF9A-E30EB4A5EBDA}" srcOrd="2" destOrd="0" presId="urn:microsoft.com/office/officeart/2005/8/layout/gear1"/>
    <dgm:cxn modelId="{22393CEA-2F82-4458-B006-D27E2C856C1B}" type="presOf" srcId="{E429A350-3178-4C81-BB78-EEC48A026CED}" destId="{05C7193D-2D50-4209-A427-492A2C77F66A}" srcOrd="2" destOrd="0" presId="urn:microsoft.com/office/officeart/2005/8/layout/gear1"/>
    <dgm:cxn modelId="{3361DD69-6374-4B13-8D62-69A57D4C192C}" type="presOf" srcId="{3901D4E4-52ED-4337-B695-9B327D79EF8E}" destId="{083DB0E7-04B5-437B-A618-FC09CC7D8CD9}" srcOrd="0" destOrd="0" presId="urn:microsoft.com/office/officeart/2005/8/layout/gear1"/>
    <dgm:cxn modelId="{4E45BC44-57EA-42A0-BC8C-59E3576CB13A}" type="presOf" srcId="{D81B82FB-8391-4BE4-A4C6-9A482E72D107}" destId="{21987D6A-111A-45BE-BB0E-CD0CCB5516C7}" srcOrd="1" destOrd="0" presId="urn:microsoft.com/office/officeart/2005/8/layout/gear1"/>
    <dgm:cxn modelId="{2AFEC761-4772-47CB-B9C7-35BCECB746FF}" type="presOf" srcId="{5D509157-2C65-4F92-AC1C-FAA97139449C}" destId="{777A46BE-0B5E-4393-9995-AA3B30DDA29F}" srcOrd="0" destOrd="0" presId="urn:microsoft.com/office/officeart/2005/8/layout/gear1"/>
    <dgm:cxn modelId="{D0E4B31E-C91A-4616-AF0E-2787DF3E4C74}" type="presOf" srcId="{23628CA0-D422-43FF-B003-EEA5730D26D4}" destId="{9D265D8E-BDCE-47F1-A46C-391B0ACE6B9A}" srcOrd="0" destOrd="0" presId="urn:microsoft.com/office/officeart/2005/8/layout/gear1"/>
    <dgm:cxn modelId="{F6ABD94F-2309-4141-AF53-53264842D59D}" srcId="{C7140E2A-782B-4024-832B-123006C0DFC2}" destId="{D81B82FB-8391-4BE4-A4C6-9A482E72D107}" srcOrd="1" destOrd="0" parTransId="{B4F73EFF-6538-4741-A4C2-B619260E9F24}" sibTransId="{35BF5CA2-08F9-45D8-AA82-BC2E375A4CA5}"/>
    <dgm:cxn modelId="{B1A274B4-FAEF-4476-B9E4-F9B195EAF42B}" type="presOf" srcId="{23628CA0-D422-43FF-B003-EEA5730D26D4}" destId="{3FD4C9D0-5D89-4262-9FE3-7D3B308C81F9}" srcOrd="1" destOrd="0" presId="urn:microsoft.com/office/officeart/2005/8/layout/gear1"/>
    <dgm:cxn modelId="{2011B9FF-C5BD-4489-8C98-A44BEED0E3EE}" srcId="{C7140E2A-782B-4024-832B-123006C0DFC2}" destId="{23628CA0-D422-43FF-B003-EEA5730D26D4}" srcOrd="0" destOrd="0" parTransId="{094768EC-538A-4449-A481-446C28F62EFE}" sibTransId="{5D509157-2C65-4F92-AC1C-FAA97139449C}"/>
    <dgm:cxn modelId="{AA8409A1-8071-44BD-BCC7-4DFD3990159E}" type="presOf" srcId="{35BF5CA2-08F9-45D8-AA82-BC2E375A4CA5}" destId="{274ECA6D-8EAD-4E6F-8921-703065B933CE}" srcOrd="0" destOrd="0" presId="urn:microsoft.com/office/officeart/2005/8/layout/gear1"/>
    <dgm:cxn modelId="{C36FFFB9-9315-4361-A312-D2869FEC97C7}" type="presParOf" srcId="{8D1CEF9E-79D2-4432-BA73-53A27DD1B0D3}" destId="{9D265D8E-BDCE-47F1-A46C-391B0ACE6B9A}" srcOrd="0" destOrd="0" presId="urn:microsoft.com/office/officeart/2005/8/layout/gear1"/>
    <dgm:cxn modelId="{49A29336-39A5-4712-91BF-E35EBDD736CA}" type="presParOf" srcId="{8D1CEF9E-79D2-4432-BA73-53A27DD1B0D3}" destId="{3FD4C9D0-5D89-4262-9FE3-7D3B308C81F9}" srcOrd="1" destOrd="0" presId="urn:microsoft.com/office/officeart/2005/8/layout/gear1"/>
    <dgm:cxn modelId="{B13D65B8-B124-4675-92E7-5453CA973927}" type="presParOf" srcId="{8D1CEF9E-79D2-4432-BA73-53A27DD1B0D3}" destId="{84F05ED1-950A-43EF-A974-573657FD0D0F}" srcOrd="2" destOrd="0" presId="urn:microsoft.com/office/officeart/2005/8/layout/gear1"/>
    <dgm:cxn modelId="{935FFA71-1A58-4397-9F2B-53A056BA7A36}" type="presParOf" srcId="{8D1CEF9E-79D2-4432-BA73-53A27DD1B0D3}" destId="{C603D963-94EC-4DE4-B17C-44592B8F0652}" srcOrd="3" destOrd="0" presId="urn:microsoft.com/office/officeart/2005/8/layout/gear1"/>
    <dgm:cxn modelId="{390E0D68-71DE-4403-B02F-44983E253D1A}" type="presParOf" srcId="{8D1CEF9E-79D2-4432-BA73-53A27DD1B0D3}" destId="{21987D6A-111A-45BE-BB0E-CD0CCB5516C7}" srcOrd="4" destOrd="0" presId="urn:microsoft.com/office/officeart/2005/8/layout/gear1"/>
    <dgm:cxn modelId="{65616134-9AA2-4516-B8B7-2958C2583EFD}" type="presParOf" srcId="{8D1CEF9E-79D2-4432-BA73-53A27DD1B0D3}" destId="{C924B66A-E9AF-4448-AF9A-E30EB4A5EBDA}" srcOrd="5" destOrd="0" presId="urn:microsoft.com/office/officeart/2005/8/layout/gear1"/>
    <dgm:cxn modelId="{016B0891-FCB8-489E-9C16-664666FC06B9}" type="presParOf" srcId="{8D1CEF9E-79D2-4432-BA73-53A27DD1B0D3}" destId="{265D6196-3225-4BD2-A320-1ECCEA12FC70}" srcOrd="6" destOrd="0" presId="urn:microsoft.com/office/officeart/2005/8/layout/gear1"/>
    <dgm:cxn modelId="{2771EDD3-12BF-4424-8BB0-710AB90A4D9C}" type="presParOf" srcId="{8D1CEF9E-79D2-4432-BA73-53A27DD1B0D3}" destId="{5B601DCD-32D2-4B50-B7B7-18DEAB9855BD}" srcOrd="7" destOrd="0" presId="urn:microsoft.com/office/officeart/2005/8/layout/gear1"/>
    <dgm:cxn modelId="{250CF1EE-187B-4533-BE5F-22B45B7F4019}" type="presParOf" srcId="{8D1CEF9E-79D2-4432-BA73-53A27DD1B0D3}" destId="{05C7193D-2D50-4209-A427-492A2C77F66A}" srcOrd="8" destOrd="0" presId="urn:microsoft.com/office/officeart/2005/8/layout/gear1"/>
    <dgm:cxn modelId="{DF95CBD9-865B-42DE-88A4-8F8DD365EF68}" type="presParOf" srcId="{8D1CEF9E-79D2-4432-BA73-53A27DD1B0D3}" destId="{0761E811-765D-4201-8754-4F5B5C27EA5A}" srcOrd="9" destOrd="0" presId="urn:microsoft.com/office/officeart/2005/8/layout/gear1"/>
    <dgm:cxn modelId="{571B1331-AB99-40C9-B8A7-DD42C867A294}" type="presParOf" srcId="{8D1CEF9E-79D2-4432-BA73-53A27DD1B0D3}" destId="{777A46BE-0B5E-4393-9995-AA3B30DDA29F}" srcOrd="10" destOrd="0" presId="urn:microsoft.com/office/officeart/2005/8/layout/gear1"/>
    <dgm:cxn modelId="{D0E508C8-4D59-48D3-ABEE-606507FDD1E4}" type="presParOf" srcId="{8D1CEF9E-79D2-4432-BA73-53A27DD1B0D3}" destId="{274ECA6D-8EAD-4E6F-8921-703065B933CE}" srcOrd="11" destOrd="0" presId="urn:microsoft.com/office/officeart/2005/8/layout/gear1"/>
    <dgm:cxn modelId="{FD2251B4-C475-4834-9522-8C677EFCBAC1}" type="presParOf" srcId="{8D1CEF9E-79D2-4432-BA73-53A27DD1B0D3}" destId="{083DB0E7-04B5-437B-A618-FC09CC7D8CD9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265D8E-BDCE-47F1-A46C-391B0ACE6B9A}">
      <dsp:nvSpPr>
        <dsp:cNvPr id="0" name=""/>
        <dsp:cNvSpPr/>
      </dsp:nvSpPr>
      <dsp:spPr>
        <a:xfrm>
          <a:off x="4635852" y="2992437"/>
          <a:ext cx="3657423" cy="3657423"/>
        </a:xfrm>
        <a:prstGeom prst="gear9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Raspberry Pi (Node.js)</a:t>
          </a:r>
          <a:endParaRPr lang="en-US" sz="2200" kern="1200" dirty="0"/>
        </a:p>
      </dsp:txBody>
      <dsp:txXfrm>
        <a:off x="5371157" y="3849171"/>
        <a:ext cx="2186813" cy="1879991"/>
      </dsp:txXfrm>
    </dsp:sp>
    <dsp:sp modelId="{C603D963-94EC-4DE4-B17C-44592B8F0652}">
      <dsp:nvSpPr>
        <dsp:cNvPr id="0" name=""/>
        <dsp:cNvSpPr/>
      </dsp:nvSpPr>
      <dsp:spPr>
        <a:xfrm>
          <a:off x="2507897" y="2127955"/>
          <a:ext cx="2659944" cy="2659944"/>
        </a:xfrm>
        <a:prstGeom prst="gear6">
          <a:avLst/>
        </a:prstGeom>
        <a:solidFill>
          <a:schemeClr val="accent5">
            <a:hueOff val="4108401"/>
            <a:satOff val="0"/>
            <a:lumOff val="-754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Azure web app (Node.js)</a:t>
          </a:r>
          <a:endParaRPr lang="en-US" sz="2200" kern="1200" dirty="0"/>
        </a:p>
      </dsp:txBody>
      <dsp:txXfrm>
        <a:off x="3177546" y="2801651"/>
        <a:ext cx="1320646" cy="1312552"/>
      </dsp:txXfrm>
    </dsp:sp>
    <dsp:sp modelId="{265D6196-3225-4BD2-A320-1ECCEA12FC70}">
      <dsp:nvSpPr>
        <dsp:cNvPr id="0" name=""/>
        <dsp:cNvSpPr/>
      </dsp:nvSpPr>
      <dsp:spPr>
        <a:xfrm rot="20700000">
          <a:off x="3997737" y="292865"/>
          <a:ext cx="2606202" cy="2606202"/>
        </a:xfrm>
        <a:prstGeom prst="gear6">
          <a:avLst/>
        </a:prstGeom>
        <a:solidFill>
          <a:schemeClr val="accent5">
            <a:hueOff val="8216802"/>
            <a:satOff val="0"/>
            <a:lumOff val="-1509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Universal Windows App (JavaScript)</a:t>
          </a:r>
          <a:endParaRPr lang="en-US" sz="2200" kern="1200" dirty="0"/>
        </a:p>
      </dsp:txBody>
      <dsp:txXfrm rot="-20700000">
        <a:off x="4569354" y="864481"/>
        <a:ext cx="1462969" cy="1462969"/>
      </dsp:txXfrm>
    </dsp:sp>
    <dsp:sp modelId="{777A46BE-0B5E-4393-9995-AA3B30DDA29F}">
      <dsp:nvSpPr>
        <dsp:cNvPr id="0" name=""/>
        <dsp:cNvSpPr/>
      </dsp:nvSpPr>
      <dsp:spPr>
        <a:xfrm>
          <a:off x="4382407" y="2424591"/>
          <a:ext cx="4681502" cy="4681502"/>
        </a:xfrm>
        <a:prstGeom prst="circularArrow">
          <a:avLst>
            <a:gd name="adj1" fmla="val 4687"/>
            <a:gd name="adj2" fmla="val 299029"/>
            <a:gd name="adj3" fmla="val 2554645"/>
            <a:gd name="adj4" fmla="val 15780742"/>
            <a:gd name="adj5" fmla="val 5469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74ECA6D-8EAD-4E6F-8921-703065B933CE}">
      <dsp:nvSpPr>
        <dsp:cNvPr id="0" name=""/>
        <dsp:cNvSpPr/>
      </dsp:nvSpPr>
      <dsp:spPr>
        <a:xfrm>
          <a:off x="2036826" y="1528872"/>
          <a:ext cx="3401403" cy="34014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5">
            <a:hueOff val="4108401"/>
            <a:satOff val="0"/>
            <a:lumOff val="-754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83DB0E7-04B5-437B-A618-FC09CC7D8CD9}">
      <dsp:nvSpPr>
        <dsp:cNvPr id="0" name=""/>
        <dsp:cNvSpPr/>
      </dsp:nvSpPr>
      <dsp:spPr>
        <a:xfrm>
          <a:off x="3394896" y="-288529"/>
          <a:ext cx="3667398" cy="3667398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5">
            <a:hueOff val="8216802"/>
            <a:satOff val="0"/>
            <a:lumOff val="-1509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7/7/2015 2:27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7/7/2015 2:27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7/7/2015 2:27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360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smtClean="0"/>
              <a:t>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7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here, second line her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ub header her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microsoft.com/office/2007/relationships/hdphoto" Target="../media/hdphoto3.wdp"/><Relationship Id="rId7" Type="http://schemas.microsoft.com/office/2007/relationships/hdphoto" Target="../media/hdphoto5.wdp"/><Relationship Id="rId12" Type="http://schemas.microsoft.com/office/2007/relationships/hdphoto" Target="../media/hdphoto7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0.png"/><Relationship Id="rId11" Type="http://schemas.openxmlformats.org/officeDocument/2006/relationships/image" Target="../media/image23.png"/><Relationship Id="rId5" Type="http://schemas.microsoft.com/office/2007/relationships/hdphoto" Target="../media/hdphoto4.wdp"/><Relationship Id="rId10" Type="http://schemas.openxmlformats.org/officeDocument/2006/relationships/image" Target="../media/image22.png"/><Relationship Id="rId4" Type="http://schemas.openxmlformats.org/officeDocument/2006/relationships/image" Target="../media/image19.png"/><Relationship Id="rId9" Type="http://schemas.microsoft.com/office/2007/relationships/hdphoto" Target="../media/hdphoto6.wdp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8.xml"/><Relationship Id="rId5" Type="http://schemas.microsoft.com/office/2007/relationships/hdphoto" Target="../media/hdphoto9.wdp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700232" y="936198"/>
            <a:ext cx="11196624" cy="2917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 err="1" smtClean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avascript</a:t>
            </a:r>
            <a:endParaRPr lang="es-ES" sz="6119" b="1" dirty="0" smtClean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s-ES" sz="6119" b="1" dirty="0" err="1" smtClean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r</a:t>
            </a:r>
            <a:endParaRPr lang="es-ES" sz="6119" b="1" dirty="0" smtClean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s-ES" sz="6119" b="1" dirty="0" err="1" smtClean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kers</a:t>
            </a:r>
            <a:endParaRPr lang="es-ES" sz="6119" b="1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9600" dirty="0" smtClean="0"/>
              <a:t>&lt;/code&gt;</a:t>
            </a:r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23334717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74679" y="4335462"/>
            <a:ext cx="926811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Segoe UI" panose="020B0502040204020203" pitchFamily="34" charset="0"/>
              </a:rPr>
              <a:t>https://github.com/arcadiogarcia/SlushAsAService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37" y="677862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556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2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07" t="15766" r="9343" b="21048"/>
          <a:stretch/>
        </p:blipFill>
        <p:spPr>
          <a:xfrm>
            <a:off x="76095" y="1374213"/>
            <a:ext cx="4176407" cy="432556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32152" y="1564968"/>
            <a:ext cx="8031208" cy="5113426"/>
          </a:xfrm>
        </p:spPr>
        <p:txBody>
          <a:bodyPr/>
          <a:lstStyle/>
          <a:p>
            <a:pPr marL="349724" indent="-349724">
              <a:spcAft>
                <a:spcPts val="1199"/>
              </a:spcAft>
              <a:buAutoNum type="arabicPeriod"/>
            </a:pPr>
            <a:r>
              <a:rPr lang="en-US" sz="3199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https://dev.windows.com/en-US/iot</a:t>
            </a:r>
            <a:endParaRPr lang="en-US" sz="3199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IoT resources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3507" y="-1379342"/>
            <a:ext cx="6215769" cy="65919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32563"/>
            <a:r>
              <a:rPr lang="en-US" dirty="0">
                <a:solidFill>
                  <a:srgbClr val="404040"/>
                </a:solidFill>
              </a:rPr>
              <a:t>Reference talks by Sam, Elio, Clemens and any of the ASA talks, at least.</a:t>
            </a:r>
          </a:p>
        </p:txBody>
      </p:sp>
    </p:spTree>
    <p:extLst>
      <p:ext uri="{BB962C8B-B14F-4D97-AF65-F5344CB8AC3E}">
        <p14:creationId xmlns:p14="http://schemas.microsoft.com/office/powerpoint/2010/main" val="339138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Maker</a:t>
            </a:r>
          </a:p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DIY</a:t>
            </a:r>
          </a:p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IoT</a:t>
            </a:r>
          </a:p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Raspberry PI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6422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36905" t="11918" r="32212" b="55785"/>
          <a:stretch/>
        </p:blipFill>
        <p:spPr>
          <a:xfrm>
            <a:off x="3703637" y="1820862"/>
            <a:ext cx="5181600" cy="3048000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-1140398" y="-769939"/>
            <a:ext cx="14641070" cy="8183314"/>
            <a:chOff x="-1140398" y="-769939"/>
            <a:chExt cx="14641070" cy="8183314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40398" y="4776288"/>
              <a:ext cx="4572000" cy="2590800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5220" y="4822575"/>
              <a:ext cx="4572000" cy="25908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03131" y="4776288"/>
              <a:ext cx="4572000" cy="2590800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4465637" y="-769938"/>
              <a:ext cx="4572000" cy="2590800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8928672" y="-769939"/>
              <a:ext cx="4572000" cy="2590800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-106363" y="-746793"/>
              <a:ext cx="4572000" cy="2590800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9441637" y="2095749"/>
              <a:ext cx="4572000" cy="25908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-1194880" y="1920206"/>
              <a:ext cx="4572000" cy="2590800"/>
            </a:xfrm>
            <a:prstGeom prst="rect">
              <a:avLst/>
            </a:prstGeom>
          </p:spPr>
        </p:pic>
      </p:grpSp>
      <p:sp>
        <p:nvSpPr>
          <p:cNvPr id="3" name="Rectangle 2"/>
          <p:cNvSpPr/>
          <p:nvPr/>
        </p:nvSpPr>
        <p:spPr bwMode="auto">
          <a:xfrm>
            <a:off x="-639763" y="-1074738"/>
            <a:ext cx="13868400" cy="8839200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51657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xplosion 2 3"/>
          <p:cNvSpPr/>
          <p:nvPr/>
        </p:nvSpPr>
        <p:spPr bwMode="auto">
          <a:xfrm>
            <a:off x="-5287963" y="-8466138"/>
            <a:ext cx="27279600" cy="21336000"/>
          </a:xfrm>
          <a:prstGeom prst="irregularSeal2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50837" y="677862"/>
            <a:ext cx="10820400" cy="4112495"/>
            <a:chOff x="350837" y="677862"/>
            <a:chExt cx="10820400" cy="4112495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837" y="677862"/>
              <a:ext cx="8855075" cy="4078869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316162" y="711488"/>
              <a:ext cx="8855075" cy="4078869"/>
            </a:xfrm>
            <a:prstGeom prst="rect">
              <a:avLst/>
            </a:prstGeom>
          </p:spPr>
        </p:pic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2237" y="2430462"/>
            <a:ext cx="3810000" cy="376428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5037" y="-937261"/>
            <a:ext cx="5249863" cy="5249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53330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1417637" y="525462"/>
            <a:ext cx="11734800" cy="5715000"/>
            <a:chOff x="1417637" y="525462"/>
            <a:chExt cx="11734800" cy="5715000"/>
          </a:xfrm>
        </p:grpSpPr>
        <p:sp>
          <p:nvSpPr>
            <p:cNvPr id="2" name="TextBox 1"/>
            <p:cNvSpPr txBox="1"/>
            <p:nvPr/>
          </p:nvSpPr>
          <p:spPr>
            <a:xfrm>
              <a:off x="8199437" y="1439862"/>
              <a:ext cx="4953000" cy="4173450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8000" dirty="0" smtClean="0">
                  <a:solidFill>
                    <a:schemeClr val="bg1">
                      <a:lumMod val="50000"/>
                    </a:schemeClr>
                  </a:solidFill>
                </a:rPr>
                <a:t>?</a:t>
              </a:r>
              <a:endParaRPr lang="en-US" sz="28000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7637" y="525462"/>
              <a:ext cx="5715000" cy="5715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161515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/>
        </p:nvGrpSpPr>
        <p:grpSpPr>
          <a:xfrm>
            <a:off x="4313237" y="373062"/>
            <a:ext cx="5715000" cy="3421063"/>
            <a:chOff x="4313237" y="373062"/>
            <a:chExt cx="5715000" cy="3421063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313237" y="373062"/>
              <a:ext cx="4276329" cy="3421063"/>
            </a:xfrm>
            <a:prstGeom prst="rect">
              <a:avLst/>
            </a:prstGeom>
          </p:spPr>
        </p:pic>
        <p:cxnSp>
          <p:nvCxnSpPr>
            <p:cNvPr id="5" name="Straight Connector 4"/>
            <p:cNvCxnSpPr/>
            <p:nvPr/>
          </p:nvCxnSpPr>
          <p:spPr>
            <a:xfrm flipV="1">
              <a:off x="8123237" y="677864"/>
              <a:ext cx="1905000" cy="1142998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12" name="Group 11"/>
          <p:cNvGrpSpPr/>
          <p:nvPr/>
        </p:nvGrpSpPr>
        <p:grpSpPr>
          <a:xfrm rot="18488390">
            <a:off x="9167765" y="653438"/>
            <a:ext cx="3290887" cy="2512311"/>
            <a:chOff x="2179637" y="2126363"/>
            <a:chExt cx="3290887" cy="2512311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84549" y="2126363"/>
              <a:ext cx="2085975" cy="2085975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65" b="9791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637" y="2659062"/>
              <a:ext cx="2227859" cy="1979612"/>
            </a:xfrm>
            <a:prstGeom prst="rect">
              <a:avLst/>
            </a:prstGeom>
          </p:spPr>
        </p:pic>
      </p:grpSp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667" b="955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0037" y="3599708"/>
            <a:ext cx="3407661" cy="3407661"/>
          </a:xfrm>
          <a:prstGeom prst="rect">
            <a:avLst/>
          </a:prstGeom>
        </p:spPr>
      </p:pic>
      <p:grpSp>
        <p:nvGrpSpPr>
          <p:cNvPr id="28" name="Group 27"/>
          <p:cNvGrpSpPr/>
          <p:nvPr/>
        </p:nvGrpSpPr>
        <p:grpSpPr>
          <a:xfrm>
            <a:off x="4846637" y="2939115"/>
            <a:ext cx="2904745" cy="4068254"/>
            <a:chOff x="4846637" y="2939115"/>
            <a:chExt cx="2904745" cy="406825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6637" y="4102624"/>
              <a:ext cx="2904745" cy="2904745"/>
            </a:xfrm>
            <a:prstGeom prst="rect">
              <a:avLst/>
            </a:prstGeom>
          </p:spPr>
        </p:pic>
        <p:cxnSp>
          <p:nvCxnSpPr>
            <p:cNvPr id="22" name="Straight Connector 21"/>
            <p:cNvCxnSpPr/>
            <p:nvPr/>
          </p:nvCxnSpPr>
          <p:spPr>
            <a:xfrm flipH="1" flipV="1">
              <a:off x="5188896" y="2939115"/>
              <a:ext cx="495941" cy="1548747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29" name="Group 28"/>
          <p:cNvGrpSpPr/>
          <p:nvPr/>
        </p:nvGrpSpPr>
        <p:grpSpPr>
          <a:xfrm>
            <a:off x="388425" y="2170958"/>
            <a:ext cx="4296155" cy="3612304"/>
            <a:chOff x="388425" y="2170958"/>
            <a:chExt cx="4296155" cy="3612304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0" b="10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8425" y="2170958"/>
              <a:ext cx="2857500" cy="2857500"/>
            </a:xfrm>
            <a:prstGeom prst="rect">
              <a:avLst/>
            </a:prstGeom>
          </p:spPr>
        </p:pic>
        <p:cxnSp>
          <p:nvCxnSpPr>
            <p:cNvPr id="24" name="Straight Connector 23"/>
            <p:cNvCxnSpPr>
              <a:stCxn id="19" idx="2"/>
            </p:cNvCxnSpPr>
            <p:nvPr/>
          </p:nvCxnSpPr>
          <p:spPr>
            <a:xfrm>
              <a:off x="1817175" y="5028458"/>
              <a:ext cx="2867405" cy="754804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87354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4933" l="1099" r="100000">
                        <a14:foregroundMark x1="29890" y1="50667" x2="29890" y2="50667"/>
                        <a14:foregroundMark x1="20879" y1="45067" x2="20879" y2="45067"/>
                        <a14:foregroundMark x1="64396" y1="51467" x2="64396" y2="51467"/>
                        <a14:foregroundMark x1="76044" y1="54133" x2="76044" y2="54133"/>
                        <a14:foregroundMark x1="81099" y1="50133" x2="81099" y2="50133"/>
                        <a14:foregroundMark x1="88132" y1="53600" x2="88132" y2="53600"/>
                        <a14:foregroundMark x1="79780" y1="43200" x2="79780" y2="432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437" y="-236538"/>
            <a:ext cx="4333875" cy="357187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foregroundMark x1="7283" y1="55717" x2="7283" y2="55717"/>
                        <a14:foregroundMark x1="27381" y1="63768" x2="27381" y2="63768"/>
                        <a14:foregroundMark x1="94188" y1="56522" x2="94188" y2="56522"/>
                        <a14:foregroundMark x1="59524" y1="76329" x2="59524" y2="76329"/>
                        <a14:foregroundMark x1="45098" y1="79710" x2="45098" y2="79710"/>
                        <a14:foregroundMark x1="43487" y1="78744" x2="43487" y2="78744"/>
                        <a14:foregroundMark x1="5672" y1="74235" x2="5672" y2="74235"/>
                        <a14:foregroundMark x1="4272" y1="43478" x2="4272" y2="43478"/>
                        <a14:foregroundMark x1="8263" y1="36715" x2="8263" y2="36715"/>
                        <a14:foregroundMark x1="21639" y1="30435" x2="21639" y2="30435"/>
                        <a14:foregroundMark x1="94748" y1="40258" x2="94748" y2="40258"/>
                        <a14:foregroundMark x1="89006" y1="58615" x2="89006" y2="58615"/>
                        <a14:foregroundMark x1="93207" y1="76167" x2="93207" y2="76167"/>
                        <a14:foregroundMark x1="53782" y1="88245" x2="53782" y2="88245"/>
                        <a14:foregroundMark x1="76190" y1="84863" x2="76190" y2="84863"/>
                        <a14:foregroundMark x1="85364" y1="81965" x2="85364" y2="81965"/>
                        <a14:foregroundMark x1="34244" y1="86473" x2="34244" y2="86473"/>
                        <a14:foregroundMark x1="16737" y1="82609" x2="16737" y2="82609"/>
                        <a14:foregroundMark x1="10224" y1="79066" x2="10224" y2="79066"/>
                        <a14:foregroundMark x1="13445" y1="80515" x2="13445" y2="80515"/>
                        <a14:foregroundMark x1="6303" y1="75523" x2="6303" y2="75523"/>
                        <a14:foregroundMark x1="10294" y1="35427" x2="10294" y2="35427"/>
                        <a14:foregroundMark x1="7213" y1="38647" x2="7213" y2="38647"/>
                        <a14:foregroundMark x1="9314" y1="35910" x2="9314" y2="35910"/>
                        <a14:foregroundMark x1="79622" y1="29630" x2="79622" y2="29630"/>
                        <a14:foregroundMark x1="89356" y1="35105" x2="89356" y2="35105"/>
                        <a14:foregroundMark x1="92227" y1="37198" x2="92227" y2="37198"/>
                        <a14:foregroundMark x1="93908" y1="38647" x2="93908" y2="38647"/>
                        <a14:foregroundMark x1="91106" y1="36715" x2="91106" y2="36715"/>
                        <a14:foregroundMark x1="81022" y1="83736" x2="81022" y2="83736"/>
                        <a14:foregroundMark x1="88445" y1="80032" x2="88445" y2="80032"/>
                        <a14:foregroundMark x1="91597" y1="77939" x2="91947" y2="77939"/>
                        <a14:foregroundMark x1="89426" y1="79227" x2="89426" y2="79227"/>
                        <a14:foregroundMark x1="95168" y1="73752" x2="95168" y2="73752"/>
                        <a14:foregroundMark x1="93277" y1="43478" x2="93277" y2="43478"/>
                        <a14:foregroundMark x1="93067" y1="70692" x2="93067" y2="70692"/>
                        <a14:foregroundMark x1="6863" y1="43800" x2="6863" y2="43800"/>
                        <a14:foregroundMark x1="63235" y1="28019" x2="63235" y2="28019"/>
                        <a14:foregroundMark x1="36975" y1="28019" x2="36975" y2="28019"/>
                        <a14:foregroundMark x1="50140" y1="26409" x2="50140" y2="264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837" y="2659062"/>
            <a:ext cx="9626268" cy="4186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360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4250902520"/>
              </p:ext>
            </p:extLst>
          </p:nvPr>
        </p:nvGraphicFramePr>
        <p:xfrm>
          <a:off x="808037" y="144462"/>
          <a:ext cx="9936692" cy="6649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301391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9600" dirty="0" smtClean="0"/>
              <a:t>&lt;code&gt;</a:t>
            </a:r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15808886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12a172fe-0250-434a-85cf-03b10810c5e5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purl.org/dc/elements/1.1/"/>
    <ds:schemaRef ds:uri="230e9df3-be65-4c73-a93b-d1236ebd677e"/>
    <ds:schemaRef ds:uri="http://www.w3.org/XML/1998/namespace"/>
    <ds:schemaRef ds:uri="http://schemas.microsoft.com/sharepoint/v3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77</TotalTime>
  <Words>101</Words>
  <Application>Microsoft Office PowerPoint</Application>
  <PresentationFormat>Custom</PresentationFormat>
  <Paragraphs>25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Avenir LT Pro 45 Book</vt:lpstr>
      <vt:lpstr>Consolas</vt:lpstr>
      <vt:lpstr>ＭＳ Ｐゴシック</vt:lpstr>
      <vt:lpstr>Segoe UI</vt:lpstr>
      <vt:lpstr>Segoe UI Light</vt:lpstr>
      <vt:lpstr>5-30629_Build_Template_WHITE</vt:lpstr>
      <vt:lpstr>1_5-30629_Build_Template_DARK BLUE</vt:lpstr>
      <vt:lpstr>1_5-30629_Build_Template_WHITE</vt:lpstr>
      <vt:lpstr>3_5-30629_Build_Template_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&lt;code&gt;</vt:lpstr>
      <vt:lpstr>&lt;/code&gt;</vt:lpstr>
      <vt:lpstr>PowerPoint Presentation</vt:lpstr>
      <vt:lpstr>IoT resource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31</cp:revision>
  <dcterms:created xsi:type="dcterms:W3CDTF">2015-04-29T17:53:46Z</dcterms:created>
  <dcterms:modified xsi:type="dcterms:W3CDTF">2015-07-07T13:3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